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237" autoAdjust="0"/>
  </p:normalViewPr>
  <p:slideViewPr>
    <p:cSldViewPr snapToGrid="0" snapToObjects="1">
      <p:cViewPr varScale="1">
        <p:scale>
          <a:sx n="69" d="100"/>
          <a:sy n="69" d="100"/>
        </p:scale>
        <p:origin x="-904" y="-120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interSettings" Target="printerSettings/printerSettings1.bin"/><Relationship Id="rId4" Type="http://schemas.openxmlformats.org/officeDocument/2006/relationships/presProps" Target="presProps.xml"/><Relationship Id="rId5" Type="http://schemas.openxmlformats.org/officeDocument/2006/relationships/viewProps" Target="viewProps.xml"/><Relationship Id="rId6" Type="http://schemas.openxmlformats.org/officeDocument/2006/relationships/theme" Target="theme/theme1.xml"/><Relationship Id="rId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079AFA8-4E66-3548-A3DE-E370B0D4F485}" type="doc">
      <dgm:prSet loTypeId="urn:microsoft.com/office/officeart/2005/8/layout/cycle1" loCatId="" qsTypeId="urn:microsoft.com/office/officeart/2005/8/quickstyle/simple4" qsCatId="simple" csTypeId="urn:microsoft.com/office/officeart/2005/8/colors/accent1_2" csCatId="accent1" phldr="0"/>
      <dgm:spPr/>
      <dgm:t>
        <a:bodyPr/>
        <a:lstStyle/>
        <a:p>
          <a:endParaRPr lang="en-US"/>
        </a:p>
      </dgm:t>
    </dgm:pt>
    <dgm:pt modelId="{40B9242F-F3D0-724D-92F7-16ED91A72C06}">
      <dgm:prSet phldrT="[Text]" phldr="1"/>
      <dgm:spPr/>
      <dgm:t>
        <a:bodyPr/>
        <a:lstStyle/>
        <a:p>
          <a:endParaRPr lang="en-US"/>
        </a:p>
      </dgm:t>
    </dgm:pt>
    <dgm:pt modelId="{01E558F8-6D2A-9341-893C-54BFA681A91A}" type="parTrans" cxnId="{A1E3AF0C-7044-B548-8BF1-E000C787749A}">
      <dgm:prSet/>
      <dgm:spPr/>
      <dgm:t>
        <a:bodyPr/>
        <a:lstStyle/>
        <a:p>
          <a:endParaRPr lang="en-US"/>
        </a:p>
      </dgm:t>
    </dgm:pt>
    <dgm:pt modelId="{39A8724F-AF0D-1B43-9F8F-B65C3E551822}" type="sibTrans" cxnId="{A1E3AF0C-7044-B548-8BF1-E000C787749A}">
      <dgm:prSet/>
      <dgm:spPr/>
      <dgm:t>
        <a:bodyPr/>
        <a:lstStyle/>
        <a:p>
          <a:endParaRPr lang="en-US"/>
        </a:p>
      </dgm:t>
    </dgm:pt>
    <dgm:pt modelId="{D20C1E72-5C30-2544-81FD-F5EC62F8F769}">
      <dgm:prSet phldrT="[Text]" phldr="1"/>
      <dgm:spPr/>
      <dgm:t>
        <a:bodyPr/>
        <a:lstStyle/>
        <a:p>
          <a:endParaRPr lang="en-US"/>
        </a:p>
      </dgm:t>
    </dgm:pt>
    <dgm:pt modelId="{644C81B8-3404-574A-8E8D-862683455D58}" type="parTrans" cxnId="{0C008A58-40A6-8343-8808-C9E5ADD0AD4C}">
      <dgm:prSet/>
      <dgm:spPr/>
      <dgm:t>
        <a:bodyPr/>
        <a:lstStyle/>
        <a:p>
          <a:endParaRPr lang="en-US"/>
        </a:p>
      </dgm:t>
    </dgm:pt>
    <dgm:pt modelId="{401A7800-BA5B-AE41-BC4C-B2E81CDA19CD}" type="sibTrans" cxnId="{0C008A58-40A6-8343-8808-C9E5ADD0AD4C}">
      <dgm:prSet/>
      <dgm:spPr/>
      <dgm:t>
        <a:bodyPr/>
        <a:lstStyle/>
        <a:p>
          <a:endParaRPr lang="en-US"/>
        </a:p>
      </dgm:t>
    </dgm:pt>
    <dgm:pt modelId="{38DCEB68-A161-C240-BCA2-4FC9CC1FDD88}">
      <dgm:prSet phldrT="[Text]" phldr="1"/>
      <dgm:spPr/>
      <dgm:t>
        <a:bodyPr/>
        <a:lstStyle/>
        <a:p>
          <a:endParaRPr lang="en-US"/>
        </a:p>
      </dgm:t>
    </dgm:pt>
    <dgm:pt modelId="{C5395336-2793-4145-8CD5-3F1AF2BE5C5E}" type="parTrans" cxnId="{E358B6D7-AA87-8A41-955D-283FB5A973DD}">
      <dgm:prSet/>
      <dgm:spPr/>
      <dgm:t>
        <a:bodyPr/>
        <a:lstStyle/>
        <a:p>
          <a:endParaRPr lang="en-US"/>
        </a:p>
      </dgm:t>
    </dgm:pt>
    <dgm:pt modelId="{B85B1955-29DF-2E42-A760-0AAF8253A4CC}" type="sibTrans" cxnId="{E358B6D7-AA87-8A41-955D-283FB5A973DD}">
      <dgm:prSet/>
      <dgm:spPr/>
      <dgm:t>
        <a:bodyPr/>
        <a:lstStyle/>
        <a:p>
          <a:endParaRPr lang="en-US"/>
        </a:p>
      </dgm:t>
    </dgm:pt>
    <dgm:pt modelId="{AFAB146E-286E-1745-A0E4-CF9E2E1DB166}">
      <dgm:prSet phldrT="[Text]" phldr="1"/>
      <dgm:spPr/>
      <dgm:t>
        <a:bodyPr/>
        <a:lstStyle/>
        <a:p>
          <a:endParaRPr lang="en-US"/>
        </a:p>
      </dgm:t>
    </dgm:pt>
    <dgm:pt modelId="{2D5BC735-A106-1D47-857A-BE7C80E08170}" type="parTrans" cxnId="{241FF2A7-8435-7445-A96F-BB77B42C7486}">
      <dgm:prSet/>
      <dgm:spPr/>
      <dgm:t>
        <a:bodyPr/>
        <a:lstStyle/>
        <a:p>
          <a:endParaRPr lang="en-US"/>
        </a:p>
      </dgm:t>
    </dgm:pt>
    <dgm:pt modelId="{F30B940E-59B3-BC4B-918B-8AB54DF2FCF1}" type="sibTrans" cxnId="{241FF2A7-8435-7445-A96F-BB77B42C7486}">
      <dgm:prSet/>
      <dgm:spPr/>
      <dgm:t>
        <a:bodyPr/>
        <a:lstStyle/>
        <a:p>
          <a:endParaRPr lang="en-US"/>
        </a:p>
      </dgm:t>
    </dgm:pt>
    <dgm:pt modelId="{313795FE-CDB0-1642-995D-D78D0DA0C5CF}">
      <dgm:prSet phldrT="[Text]" phldr="1"/>
      <dgm:spPr/>
      <dgm:t>
        <a:bodyPr/>
        <a:lstStyle/>
        <a:p>
          <a:endParaRPr lang="en-US"/>
        </a:p>
      </dgm:t>
    </dgm:pt>
    <dgm:pt modelId="{7E14E3FC-767B-EC47-ABFD-D881FD4897D4}" type="parTrans" cxnId="{4C1C71FD-8AE6-9C42-BFC1-DAC1965622CB}">
      <dgm:prSet/>
      <dgm:spPr/>
      <dgm:t>
        <a:bodyPr/>
        <a:lstStyle/>
        <a:p>
          <a:endParaRPr lang="en-US"/>
        </a:p>
      </dgm:t>
    </dgm:pt>
    <dgm:pt modelId="{DB5D3B79-CE2D-834A-99E8-1B4C52F625A2}" type="sibTrans" cxnId="{4C1C71FD-8AE6-9C42-BFC1-DAC1965622CB}">
      <dgm:prSet/>
      <dgm:spPr/>
      <dgm:t>
        <a:bodyPr/>
        <a:lstStyle/>
        <a:p>
          <a:endParaRPr lang="en-US"/>
        </a:p>
      </dgm:t>
    </dgm:pt>
    <dgm:pt modelId="{F8D5A677-35CD-6E41-8403-4A91AA866175}" type="pres">
      <dgm:prSet presAssocID="{E079AFA8-4E66-3548-A3DE-E370B0D4F485}" presName="cycle" presStyleCnt="0">
        <dgm:presLayoutVars>
          <dgm:dir/>
          <dgm:resizeHandles val="exact"/>
        </dgm:presLayoutVars>
      </dgm:prSet>
      <dgm:spPr/>
    </dgm:pt>
    <dgm:pt modelId="{DC1DCA35-F961-6A4E-82D8-0933DE817FE2}" type="pres">
      <dgm:prSet presAssocID="{40B9242F-F3D0-724D-92F7-16ED91A72C06}" presName="dummy" presStyleCnt="0"/>
      <dgm:spPr/>
    </dgm:pt>
    <dgm:pt modelId="{EC1D486C-0B97-B348-B706-31A08D35B95A}" type="pres">
      <dgm:prSet presAssocID="{40B9242F-F3D0-724D-92F7-16ED91A72C06}" presName="node" presStyleLbl="revTx" presStyleIdx="0" presStyleCnt="5">
        <dgm:presLayoutVars>
          <dgm:bulletEnabled val="1"/>
        </dgm:presLayoutVars>
      </dgm:prSet>
      <dgm:spPr/>
    </dgm:pt>
    <dgm:pt modelId="{2E7EED04-B269-A847-80C6-5A2D79DD11CD}" type="pres">
      <dgm:prSet presAssocID="{39A8724F-AF0D-1B43-9F8F-B65C3E551822}" presName="sibTrans" presStyleLbl="node1" presStyleIdx="0" presStyleCnt="5"/>
      <dgm:spPr/>
    </dgm:pt>
    <dgm:pt modelId="{75427B15-51A6-2B4A-8DB7-BEA966890887}" type="pres">
      <dgm:prSet presAssocID="{D20C1E72-5C30-2544-81FD-F5EC62F8F769}" presName="dummy" presStyleCnt="0"/>
      <dgm:spPr/>
    </dgm:pt>
    <dgm:pt modelId="{144F889A-7FCF-174D-A137-A03C5B1FF854}" type="pres">
      <dgm:prSet presAssocID="{D20C1E72-5C30-2544-81FD-F5EC62F8F769}" presName="node" presStyleLbl="revTx" presStyleIdx="1" presStyleCnt="5">
        <dgm:presLayoutVars>
          <dgm:bulletEnabled val="1"/>
        </dgm:presLayoutVars>
      </dgm:prSet>
      <dgm:spPr/>
    </dgm:pt>
    <dgm:pt modelId="{29E0DEB3-9C0A-A54F-AD7D-1027682219B8}" type="pres">
      <dgm:prSet presAssocID="{401A7800-BA5B-AE41-BC4C-B2E81CDA19CD}" presName="sibTrans" presStyleLbl="node1" presStyleIdx="1" presStyleCnt="5"/>
      <dgm:spPr/>
    </dgm:pt>
    <dgm:pt modelId="{0CD5A1E2-053C-E749-A74D-B36FB23ADAF0}" type="pres">
      <dgm:prSet presAssocID="{38DCEB68-A161-C240-BCA2-4FC9CC1FDD88}" presName="dummy" presStyleCnt="0"/>
      <dgm:spPr/>
    </dgm:pt>
    <dgm:pt modelId="{3862F5D1-C015-734C-8061-3A72C759B255}" type="pres">
      <dgm:prSet presAssocID="{38DCEB68-A161-C240-BCA2-4FC9CC1FDD88}" presName="node" presStyleLbl="revTx" presStyleIdx="2" presStyleCnt="5">
        <dgm:presLayoutVars>
          <dgm:bulletEnabled val="1"/>
        </dgm:presLayoutVars>
      </dgm:prSet>
      <dgm:spPr/>
    </dgm:pt>
    <dgm:pt modelId="{8848EB6F-B3C5-F943-925A-23950FE3706B}" type="pres">
      <dgm:prSet presAssocID="{B85B1955-29DF-2E42-A760-0AAF8253A4CC}" presName="sibTrans" presStyleLbl="node1" presStyleIdx="2" presStyleCnt="5"/>
      <dgm:spPr/>
    </dgm:pt>
    <dgm:pt modelId="{16377165-7FFA-6C48-92CF-7C98DD4CC6F3}" type="pres">
      <dgm:prSet presAssocID="{AFAB146E-286E-1745-A0E4-CF9E2E1DB166}" presName="dummy" presStyleCnt="0"/>
      <dgm:spPr/>
    </dgm:pt>
    <dgm:pt modelId="{CF7D3CE1-9578-3642-8BA6-480902452A0D}" type="pres">
      <dgm:prSet presAssocID="{AFAB146E-286E-1745-A0E4-CF9E2E1DB166}" presName="node" presStyleLbl="revTx" presStyleIdx="3" presStyleCnt="5">
        <dgm:presLayoutVars>
          <dgm:bulletEnabled val="1"/>
        </dgm:presLayoutVars>
      </dgm:prSet>
      <dgm:spPr/>
    </dgm:pt>
    <dgm:pt modelId="{54D89D51-B692-BA45-A82F-B9552A322106}" type="pres">
      <dgm:prSet presAssocID="{F30B940E-59B3-BC4B-918B-8AB54DF2FCF1}" presName="sibTrans" presStyleLbl="node1" presStyleIdx="3" presStyleCnt="5"/>
      <dgm:spPr/>
    </dgm:pt>
    <dgm:pt modelId="{2B0CA9EE-1989-474D-9CEA-4FDD7CB1F824}" type="pres">
      <dgm:prSet presAssocID="{313795FE-CDB0-1642-995D-D78D0DA0C5CF}" presName="dummy" presStyleCnt="0"/>
      <dgm:spPr/>
    </dgm:pt>
    <dgm:pt modelId="{AABFB9E9-303D-2242-8901-F473FE0263CB}" type="pres">
      <dgm:prSet presAssocID="{313795FE-CDB0-1642-995D-D78D0DA0C5CF}" presName="node" presStyleLbl="revTx" presStyleIdx="4" presStyleCnt="5">
        <dgm:presLayoutVars>
          <dgm:bulletEnabled val="1"/>
        </dgm:presLayoutVars>
      </dgm:prSet>
      <dgm:spPr/>
    </dgm:pt>
    <dgm:pt modelId="{50EEC882-984F-C749-94AB-0AC9E4EA8500}" type="pres">
      <dgm:prSet presAssocID="{DB5D3B79-CE2D-834A-99E8-1B4C52F625A2}" presName="sibTrans" presStyleLbl="node1" presStyleIdx="4" presStyleCnt="5"/>
      <dgm:spPr/>
    </dgm:pt>
  </dgm:ptLst>
  <dgm:cxnLst>
    <dgm:cxn modelId="{3092138D-D8F3-4D4E-A990-240B0B2322B4}" type="presOf" srcId="{39A8724F-AF0D-1B43-9F8F-B65C3E551822}" destId="{2E7EED04-B269-A847-80C6-5A2D79DD11CD}" srcOrd="0" destOrd="0" presId="urn:microsoft.com/office/officeart/2005/8/layout/cycle1"/>
    <dgm:cxn modelId="{4C1C71FD-8AE6-9C42-BFC1-DAC1965622CB}" srcId="{E079AFA8-4E66-3548-A3DE-E370B0D4F485}" destId="{313795FE-CDB0-1642-995D-D78D0DA0C5CF}" srcOrd="4" destOrd="0" parTransId="{7E14E3FC-767B-EC47-ABFD-D881FD4897D4}" sibTransId="{DB5D3B79-CE2D-834A-99E8-1B4C52F625A2}"/>
    <dgm:cxn modelId="{7884071B-7BD1-1849-B9A7-ACBFA135EB07}" type="presOf" srcId="{401A7800-BA5B-AE41-BC4C-B2E81CDA19CD}" destId="{29E0DEB3-9C0A-A54F-AD7D-1027682219B8}" srcOrd="0" destOrd="0" presId="urn:microsoft.com/office/officeart/2005/8/layout/cycle1"/>
    <dgm:cxn modelId="{9D1138C1-3CC7-DD4F-84B6-490CDB57FC90}" type="presOf" srcId="{E079AFA8-4E66-3548-A3DE-E370B0D4F485}" destId="{F8D5A677-35CD-6E41-8403-4A91AA866175}" srcOrd="0" destOrd="0" presId="urn:microsoft.com/office/officeart/2005/8/layout/cycle1"/>
    <dgm:cxn modelId="{A1E3AF0C-7044-B548-8BF1-E000C787749A}" srcId="{E079AFA8-4E66-3548-A3DE-E370B0D4F485}" destId="{40B9242F-F3D0-724D-92F7-16ED91A72C06}" srcOrd="0" destOrd="0" parTransId="{01E558F8-6D2A-9341-893C-54BFA681A91A}" sibTransId="{39A8724F-AF0D-1B43-9F8F-B65C3E551822}"/>
    <dgm:cxn modelId="{6FD184F3-6E6F-E341-9BA1-43A3B43AA715}" type="presOf" srcId="{DB5D3B79-CE2D-834A-99E8-1B4C52F625A2}" destId="{50EEC882-984F-C749-94AB-0AC9E4EA8500}" srcOrd="0" destOrd="0" presId="urn:microsoft.com/office/officeart/2005/8/layout/cycle1"/>
    <dgm:cxn modelId="{29A9405F-1FAE-B842-99E1-EE6A17CA88CD}" type="presOf" srcId="{313795FE-CDB0-1642-995D-D78D0DA0C5CF}" destId="{AABFB9E9-303D-2242-8901-F473FE0263CB}" srcOrd="0" destOrd="0" presId="urn:microsoft.com/office/officeart/2005/8/layout/cycle1"/>
    <dgm:cxn modelId="{0C008A58-40A6-8343-8808-C9E5ADD0AD4C}" srcId="{E079AFA8-4E66-3548-A3DE-E370B0D4F485}" destId="{D20C1E72-5C30-2544-81FD-F5EC62F8F769}" srcOrd="1" destOrd="0" parTransId="{644C81B8-3404-574A-8E8D-862683455D58}" sibTransId="{401A7800-BA5B-AE41-BC4C-B2E81CDA19CD}"/>
    <dgm:cxn modelId="{B03F3A55-7ED5-D94F-8875-D8EE75C81753}" type="presOf" srcId="{D20C1E72-5C30-2544-81FD-F5EC62F8F769}" destId="{144F889A-7FCF-174D-A137-A03C5B1FF854}" srcOrd="0" destOrd="0" presId="urn:microsoft.com/office/officeart/2005/8/layout/cycle1"/>
    <dgm:cxn modelId="{E358B6D7-AA87-8A41-955D-283FB5A973DD}" srcId="{E079AFA8-4E66-3548-A3DE-E370B0D4F485}" destId="{38DCEB68-A161-C240-BCA2-4FC9CC1FDD88}" srcOrd="2" destOrd="0" parTransId="{C5395336-2793-4145-8CD5-3F1AF2BE5C5E}" sibTransId="{B85B1955-29DF-2E42-A760-0AAF8253A4CC}"/>
    <dgm:cxn modelId="{86ED20A6-E3C4-D145-803A-B34908EAAC19}" type="presOf" srcId="{AFAB146E-286E-1745-A0E4-CF9E2E1DB166}" destId="{CF7D3CE1-9578-3642-8BA6-480902452A0D}" srcOrd="0" destOrd="0" presId="urn:microsoft.com/office/officeart/2005/8/layout/cycle1"/>
    <dgm:cxn modelId="{A033AEA5-951E-464B-92F9-DD260C28EA91}" type="presOf" srcId="{F30B940E-59B3-BC4B-918B-8AB54DF2FCF1}" destId="{54D89D51-B692-BA45-A82F-B9552A322106}" srcOrd="0" destOrd="0" presId="urn:microsoft.com/office/officeart/2005/8/layout/cycle1"/>
    <dgm:cxn modelId="{1EB298A6-1F4D-544F-8274-3BF37CD7BA98}" type="presOf" srcId="{B85B1955-29DF-2E42-A760-0AAF8253A4CC}" destId="{8848EB6F-B3C5-F943-925A-23950FE3706B}" srcOrd="0" destOrd="0" presId="urn:microsoft.com/office/officeart/2005/8/layout/cycle1"/>
    <dgm:cxn modelId="{241FF2A7-8435-7445-A96F-BB77B42C7486}" srcId="{E079AFA8-4E66-3548-A3DE-E370B0D4F485}" destId="{AFAB146E-286E-1745-A0E4-CF9E2E1DB166}" srcOrd="3" destOrd="0" parTransId="{2D5BC735-A106-1D47-857A-BE7C80E08170}" sibTransId="{F30B940E-59B3-BC4B-918B-8AB54DF2FCF1}"/>
    <dgm:cxn modelId="{A0A4BA56-5D16-3649-A1F1-FAAC923B31B7}" type="presOf" srcId="{38DCEB68-A161-C240-BCA2-4FC9CC1FDD88}" destId="{3862F5D1-C015-734C-8061-3A72C759B255}" srcOrd="0" destOrd="0" presId="urn:microsoft.com/office/officeart/2005/8/layout/cycle1"/>
    <dgm:cxn modelId="{85855FF3-30D8-8D4E-999C-63773EED5E04}" type="presOf" srcId="{40B9242F-F3D0-724D-92F7-16ED91A72C06}" destId="{EC1D486C-0B97-B348-B706-31A08D35B95A}" srcOrd="0" destOrd="0" presId="urn:microsoft.com/office/officeart/2005/8/layout/cycle1"/>
    <dgm:cxn modelId="{80B04398-C00B-704A-83EB-0940860F980A}" type="presParOf" srcId="{F8D5A677-35CD-6E41-8403-4A91AA866175}" destId="{DC1DCA35-F961-6A4E-82D8-0933DE817FE2}" srcOrd="0" destOrd="0" presId="urn:microsoft.com/office/officeart/2005/8/layout/cycle1"/>
    <dgm:cxn modelId="{1B230E63-8251-D64A-8592-A43CA3445054}" type="presParOf" srcId="{F8D5A677-35CD-6E41-8403-4A91AA866175}" destId="{EC1D486C-0B97-B348-B706-31A08D35B95A}" srcOrd="1" destOrd="0" presId="urn:microsoft.com/office/officeart/2005/8/layout/cycle1"/>
    <dgm:cxn modelId="{E24C99C4-D126-3144-8B32-B43867B1120A}" type="presParOf" srcId="{F8D5A677-35CD-6E41-8403-4A91AA866175}" destId="{2E7EED04-B269-A847-80C6-5A2D79DD11CD}" srcOrd="2" destOrd="0" presId="urn:microsoft.com/office/officeart/2005/8/layout/cycle1"/>
    <dgm:cxn modelId="{108074B8-EFD1-4F43-8884-513B91577872}" type="presParOf" srcId="{F8D5A677-35CD-6E41-8403-4A91AA866175}" destId="{75427B15-51A6-2B4A-8DB7-BEA966890887}" srcOrd="3" destOrd="0" presId="urn:microsoft.com/office/officeart/2005/8/layout/cycle1"/>
    <dgm:cxn modelId="{4CBB6997-BFC6-1648-9A56-4EB72E66734E}" type="presParOf" srcId="{F8D5A677-35CD-6E41-8403-4A91AA866175}" destId="{144F889A-7FCF-174D-A137-A03C5B1FF854}" srcOrd="4" destOrd="0" presId="urn:microsoft.com/office/officeart/2005/8/layout/cycle1"/>
    <dgm:cxn modelId="{B42C4534-711F-554F-88CD-44F6883D7646}" type="presParOf" srcId="{F8D5A677-35CD-6E41-8403-4A91AA866175}" destId="{29E0DEB3-9C0A-A54F-AD7D-1027682219B8}" srcOrd="5" destOrd="0" presId="urn:microsoft.com/office/officeart/2005/8/layout/cycle1"/>
    <dgm:cxn modelId="{6A2A8DB9-A0DC-3A4F-8C3C-237B340F8652}" type="presParOf" srcId="{F8D5A677-35CD-6E41-8403-4A91AA866175}" destId="{0CD5A1E2-053C-E749-A74D-B36FB23ADAF0}" srcOrd="6" destOrd="0" presId="urn:microsoft.com/office/officeart/2005/8/layout/cycle1"/>
    <dgm:cxn modelId="{18D45205-CE53-F647-9E60-D443FD132688}" type="presParOf" srcId="{F8D5A677-35CD-6E41-8403-4A91AA866175}" destId="{3862F5D1-C015-734C-8061-3A72C759B255}" srcOrd="7" destOrd="0" presId="urn:microsoft.com/office/officeart/2005/8/layout/cycle1"/>
    <dgm:cxn modelId="{79844F7C-2B07-244D-B0AE-30F825010F57}" type="presParOf" srcId="{F8D5A677-35CD-6E41-8403-4A91AA866175}" destId="{8848EB6F-B3C5-F943-925A-23950FE3706B}" srcOrd="8" destOrd="0" presId="urn:microsoft.com/office/officeart/2005/8/layout/cycle1"/>
    <dgm:cxn modelId="{3BC400AD-AF6F-D74C-90A6-071E89F4D0BA}" type="presParOf" srcId="{F8D5A677-35CD-6E41-8403-4A91AA866175}" destId="{16377165-7FFA-6C48-92CF-7C98DD4CC6F3}" srcOrd="9" destOrd="0" presId="urn:microsoft.com/office/officeart/2005/8/layout/cycle1"/>
    <dgm:cxn modelId="{DA9696D4-4D18-6E4D-A86D-11571EE0AC17}" type="presParOf" srcId="{F8D5A677-35CD-6E41-8403-4A91AA866175}" destId="{CF7D3CE1-9578-3642-8BA6-480902452A0D}" srcOrd="10" destOrd="0" presId="urn:microsoft.com/office/officeart/2005/8/layout/cycle1"/>
    <dgm:cxn modelId="{23FB0FFE-D0B7-1243-BA65-B2C1C583DC38}" type="presParOf" srcId="{F8D5A677-35CD-6E41-8403-4A91AA866175}" destId="{54D89D51-B692-BA45-A82F-B9552A322106}" srcOrd="11" destOrd="0" presId="urn:microsoft.com/office/officeart/2005/8/layout/cycle1"/>
    <dgm:cxn modelId="{3F1A4C1E-C061-254E-9506-18B45A1E7492}" type="presParOf" srcId="{F8D5A677-35CD-6E41-8403-4A91AA866175}" destId="{2B0CA9EE-1989-474D-9CEA-4FDD7CB1F824}" srcOrd="12" destOrd="0" presId="urn:microsoft.com/office/officeart/2005/8/layout/cycle1"/>
    <dgm:cxn modelId="{DF4E115C-72B6-1C47-A201-7A2B37A3BFA3}" type="presParOf" srcId="{F8D5A677-35CD-6E41-8403-4A91AA866175}" destId="{AABFB9E9-303D-2242-8901-F473FE0263CB}" srcOrd="13" destOrd="0" presId="urn:microsoft.com/office/officeart/2005/8/layout/cycle1"/>
    <dgm:cxn modelId="{13216910-3302-2640-BC31-E9E971E964FF}" type="presParOf" srcId="{F8D5A677-35CD-6E41-8403-4A91AA866175}" destId="{50EEC882-984F-C749-94AB-0AC9E4EA8500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1D486C-0B97-B348-B706-31A08D35B95A}">
      <dsp:nvSpPr>
        <dsp:cNvPr id="0" name=""/>
        <dsp:cNvSpPr/>
      </dsp:nvSpPr>
      <dsp:spPr>
        <a:xfrm>
          <a:off x="4124546" y="34314"/>
          <a:ext cx="1176028" cy="11760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/>
        </a:p>
      </dsp:txBody>
      <dsp:txXfrm>
        <a:off x="4124546" y="34314"/>
        <a:ext cx="1176028" cy="1176028"/>
      </dsp:txXfrm>
    </dsp:sp>
    <dsp:sp modelId="{2E7EED04-B269-A847-80C6-5A2D79DD11CD}">
      <dsp:nvSpPr>
        <dsp:cNvPr id="0" name=""/>
        <dsp:cNvSpPr/>
      </dsp:nvSpPr>
      <dsp:spPr>
        <a:xfrm>
          <a:off x="1358488" y="338"/>
          <a:ext cx="4408781" cy="4408781"/>
        </a:xfrm>
        <a:prstGeom prst="circularArrow">
          <a:avLst>
            <a:gd name="adj1" fmla="val 5202"/>
            <a:gd name="adj2" fmla="val 336015"/>
            <a:gd name="adj3" fmla="val 21292825"/>
            <a:gd name="adj4" fmla="val 19766604"/>
            <a:gd name="adj5" fmla="val 606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44F889A-7FCF-174D-A137-A03C5B1FF854}">
      <dsp:nvSpPr>
        <dsp:cNvPr id="0" name=""/>
        <dsp:cNvSpPr/>
      </dsp:nvSpPr>
      <dsp:spPr>
        <a:xfrm>
          <a:off x="4835088" y="2221137"/>
          <a:ext cx="1176028" cy="11760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/>
        </a:p>
      </dsp:txBody>
      <dsp:txXfrm>
        <a:off x="4835088" y="2221137"/>
        <a:ext cx="1176028" cy="1176028"/>
      </dsp:txXfrm>
    </dsp:sp>
    <dsp:sp modelId="{29E0DEB3-9C0A-A54F-AD7D-1027682219B8}">
      <dsp:nvSpPr>
        <dsp:cNvPr id="0" name=""/>
        <dsp:cNvSpPr/>
      </dsp:nvSpPr>
      <dsp:spPr>
        <a:xfrm>
          <a:off x="1358488" y="338"/>
          <a:ext cx="4408781" cy="4408781"/>
        </a:xfrm>
        <a:prstGeom prst="circularArrow">
          <a:avLst>
            <a:gd name="adj1" fmla="val 5202"/>
            <a:gd name="adj2" fmla="val 336015"/>
            <a:gd name="adj3" fmla="val 4014266"/>
            <a:gd name="adj4" fmla="val 2253829"/>
            <a:gd name="adj5" fmla="val 606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862F5D1-C015-734C-8061-3A72C759B255}">
      <dsp:nvSpPr>
        <dsp:cNvPr id="0" name=""/>
        <dsp:cNvSpPr/>
      </dsp:nvSpPr>
      <dsp:spPr>
        <a:xfrm>
          <a:off x="2974865" y="3572669"/>
          <a:ext cx="1176028" cy="11760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/>
        </a:p>
      </dsp:txBody>
      <dsp:txXfrm>
        <a:off x="2974865" y="3572669"/>
        <a:ext cx="1176028" cy="1176028"/>
      </dsp:txXfrm>
    </dsp:sp>
    <dsp:sp modelId="{8848EB6F-B3C5-F943-925A-23950FE3706B}">
      <dsp:nvSpPr>
        <dsp:cNvPr id="0" name=""/>
        <dsp:cNvSpPr/>
      </dsp:nvSpPr>
      <dsp:spPr>
        <a:xfrm>
          <a:off x="1358488" y="338"/>
          <a:ext cx="4408781" cy="4408781"/>
        </a:xfrm>
        <a:prstGeom prst="circularArrow">
          <a:avLst>
            <a:gd name="adj1" fmla="val 5202"/>
            <a:gd name="adj2" fmla="val 336015"/>
            <a:gd name="adj3" fmla="val 8210155"/>
            <a:gd name="adj4" fmla="val 6449719"/>
            <a:gd name="adj5" fmla="val 606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F7D3CE1-9578-3642-8BA6-480902452A0D}">
      <dsp:nvSpPr>
        <dsp:cNvPr id="0" name=""/>
        <dsp:cNvSpPr/>
      </dsp:nvSpPr>
      <dsp:spPr>
        <a:xfrm>
          <a:off x="1114641" y="2221137"/>
          <a:ext cx="1176028" cy="11760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/>
        </a:p>
      </dsp:txBody>
      <dsp:txXfrm>
        <a:off x="1114641" y="2221137"/>
        <a:ext cx="1176028" cy="1176028"/>
      </dsp:txXfrm>
    </dsp:sp>
    <dsp:sp modelId="{54D89D51-B692-BA45-A82F-B9552A322106}">
      <dsp:nvSpPr>
        <dsp:cNvPr id="0" name=""/>
        <dsp:cNvSpPr/>
      </dsp:nvSpPr>
      <dsp:spPr>
        <a:xfrm>
          <a:off x="1358488" y="338"/>
          <a:ext cx="4408781" cy="4408781"/>
        </a:xfrm>
        <a:prstGeom prst="circularArrow">
          <a:avLst>
            <a:gd name="adj1" fmla="val 5202"/>
            <a:gd name="adj2" fmla="val 336015"/>
            <a:gd name="adj3" fmla="val 12297380"/>
            <a:gd name="adj4" fmla="val 10771160"/>
            <a:gd name="adj5" fmla="val 606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ABFB9E9-303D-2242-8901-F473FE0263CB}">
      <dsp:nvSpPr>
        <dsp:cNvPr id="0" name=""/>
        <dsp:cNvSpPr/>
      </dsp:nvSpPr>
      <dsp:spPr>
        <a:xfrm>
          <a:off x="1825183" y="34314"/>
          <a:ext cx="1176028" cy="11760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/>
        </a:p>
      </dsp:txBody>
      <dsp:txXfrm>
        <a:off x="1825183" y="34314"/>
        <a:ext cx="1176028" cy="1176028"/>
      </dsp:txXfrm>
    </dsp:sp>
    <dsp:sp modelId="{50EEC882-984F-C749-94AB-0AC9E4EA8500}">
      <dsp:nvSpPr>
        <dsp:cNvPr id="0" name=""/>
        <dsp:cNvSpPr/>
      </dsp:nvSpPr>
      <dsp:spPr>
        <a:xfrm>
          <a:off x="1358488" y="338"/>
          <a:ext cx="4408781" cy="4408781"/>
        </a:xfrm>
        <a:prstGeom prst="circularArrow">
          <a:avLst>
            <a:gd name="adj1" fmla="val 5202"/>
            <a:gd name="adj2" fmla="val 336015"/>
            <a:gd name="adj3" fmla="val 16865256"/>
            <a:gd name="adj4" fmla="val 15198729"/>
            <a:gd name="adj5" fmla="val 606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1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JPG"/><Relationship Id="rId19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  <p:pic>
        <p:nvPicPr>
          <p:cNvPr id="13" name="Picture 73" descr="http://www.astronautasfx.com/img/capa/leite_cemil.jpg"/>
          <p:cNvPicPr>
            <a:picLocks noChangeAspect="1" noChangeArrowheads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5" t="27635" r="4844" b="18605"/>
          <a:stretch/>
        </p:blipFill>
        <p:spPr bwMode="auto">
          <a:xfrm>
            <a:off x="694947" y="198438"/>
            <a:ext cx="1236723" cy="62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4.jpeg"/><Relationship Id="rId7" Type="http://schemas.openxmlformats.org/officeDocument/2006/relationships/diagramData" Target="../diagrams/data1.xml"/><Relationship Id="rId8" Type="http://schemas.openxmlformats.org/officeDocument/2006/relationships/diagramLayout" Target="../diagrams/layout1.xml"/><Relationship Id="rId9" Type="http://schemas.openxmlformats.org/officeDocument/2006/relationships/diagramQuickStyle" Target="../diagrams/quickStyle1.xml"/><Relationship Id="rId10" Type="http://schemas.openxmlformats.org/officeDocument/2006/relationships/diagramColors" Target="../diagrams/colors1.xml"/><Relationship Id="rId11" Type="http://schemas.microsoft.com/office/2007/relationships/diagramDrawing" Target="../diagrams/drawing1.xml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01147" y="4521315"/>
            <a:ext cx="5236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formações de Mídia e </a:t>
            </a:r>
            <a:r>
              <a:rPr lang="pt-BR" sz="2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Mercado</a:t>
            </a:r>
            <a:endParaRPr lang="pt-BR" sz="2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02 de outubro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pic>
        <p:nvPicPr>
          <p:cNvPr id="2121" name="Picture 73" descr="http://www.astronautasfx.com/img/capa/leite_cemil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5" t="27635" r="4844" b="18605"/>
          <a:stretch/>
        </p:blipFill>
        <p:spPr bwMode="auto">
          <a:xfrm>
            <a:off x="6875855" y="3017520"/>
            <a:ext cx="2526030" cy="128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Diagram 1"/>
          <p:cNvGraphicFramePr/>
          <p:nvPr/>
        </p:nvGraphicFramePr>
        <p:xfrm>
          <a:off x="1781439" y="1406172"/>
          <a:ext cx="7125759" cy="4750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1</TotalTime>
  <Words>18</Words>
  <Application>Microsoft Macintosh PowerPoint</Application>
  <PresentationFormat>Custom</PresentationFormat>
  <Paragraphs>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Slide do think-cell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Felipe Rodrigues Pereira</cp:lastModifiedBy>
  <cp:revision>60</cp:revision>
  <dcterms:created xsi:type="dcterms:W3CDTF">2014-04-01T20:14:56Z</dcterms:created>
  <dcterms:modified xsi:type="dcterms:W3CDTF">2014-10-24T20:08:54Z</dcterms:modified>
</cp:coreProperties>
</file>